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0"/>
  </p:notesMasterIdLst>
  <p:sldIdLst>
    <p:sldId id="262" r:id="rId3"/>
    <p:sldId id="256" r:id="rId4"/>
    <p:sldId id="263" r:id="rId5"/>
    <p:sldId id="266" r:id="rId6"/>
    <p:sldId id="265" r:id="rId7"/>
    <p:sldId id="264" r:id="rId8"/>
    <p:sldId id="267" r:id="rId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9" d="100"/>
          <a:sy n="79" d="100"/>
        </p:scale>
        <p:origin x="-2496" y="-46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8E2B49-89FC-4D19-B80B-16447CB739C1}" type="datetimeFigureOut">
              <a:rPr lang="ru-RU" smtClean="0"/>
              <a:t>2/17/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2D4537-30D8-405E-B25C-4BC53829A4A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73622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32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320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32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32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320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32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43554" y="5840413"/>
            <a:ext cx="3856892" cy="252412"/>
          </a:xfrm>
          <a:prstGeom prst="rect">
            <a:avLst/>
          </a:prstGeom>
          <a:noFill/>
        </p:spPr>
      </p:pic>
      <p:grpSp>
        <p:nvGrpSpPr>
          <p:cNvPr id="10" name="Group 9"/>
          <p:cNvGrpSpPr/>
          <p:nvPr userDrawn="1"/>
        </p:nvGrpSpPr>
        <p:grpSpPr>
          <a:xfrm>
            <a:off x="225083" y="476250"/>
            <a:ext cx="8876714" cy="6381750"/>
            <a:chOff x="243840" y="476250"/>
            <a:chExt cx="9616440" cy="6381750"/>
          </a:xfrm>
        </p:grpSpPr>
        <p:sp>
          <p:nvSpPr>
            <p:cNvPr id="8" name="Rectangle 7"/>
            <p:cNvSpPr/>
            <p:nvPr userDrawn="1"/>
          </p:nvSpPr>
          <p:spPr bwMode="auto">
            <a:xfrm>
              <a:off x="243840" y="731520"/>
              <a:ext cx="9616440" cy="4572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88952" fontAlgn="base"/>
              <a:endParaRPr lang="ru-RU" sz="1200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5" name="Picture 5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871621" y="1741488"/>
              <a:ext cx="2736850" cy="511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7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68313" y="476250"/>
              <a:ext cx="2733675" cy="1073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tangle 6"/>
          <p:cNvSpPr/>
          <p:nvPr userDrawn="1"/>
        </p:nvSpPr>
        <p:spPr bwMode="auto">
          <a:xfrm>
            <a:off x="432291" y="6637020"/>
            <a:ext cx="615754" cy="2057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952" fontAlgn="base"/>
            <a:endParaRPr lang="ru-RU" sz="1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51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8" y="1509714"/>
            <a:ext cx="8274051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17370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13201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53481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8165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2/17/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163513"/>
            <a:ext cx="827405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509714"/>
            <a:ext cx="8274050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68876" y="6610226"/>
            <a:ext cx="176212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8952">
              <a:spcBef>
                <a:spcPct val="0"/>
              </a:spcBef>
            </a:pPr>
            <a:fld id="{0AAE6F06-DF1F-4AFE-8A52-B806E3E9D437}" type="slidenum">
              <a:rPr lang="en-GB" sz="900">
                <a:solidFill>
                  <a:srgbClr val="000000"/>
                </a:solidFill>
              </a:rPr>
              <a:pPr algn="r" defTabSz="888952">
                <a:spcBef>
                  <a:spcPct val="0"/>
                </a:spcBef>
              </a:pPr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Rectangle 122"/>
          <p:cNvSpPr>
            <a:spLocks noChangeArrowheads="1"/>
          </p:cNvSpPr>
          <p:nvPr userDrawn="1"/>
        </p:nvSpPr>
        <p:spPr bwMode="auto">
          <a:xfrm>
            <a:off x="434975" y="989013"/>
            <a:ext cx="8274050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7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175"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351"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526"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702"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476" indent="-222238"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8952" indent="-222238"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191" indent="-227001"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555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731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2906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082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256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5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6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2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6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2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7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3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11560" y="1916832"/>
            <a:ext cx="621944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Образ будущего 2035</a:t>
            </a:r>
          </a:p>
          <a:p>
            <a:endParaRPr lang="ru-RU" sz="2400" b="1" kern="0" dirty="0">
              <a:solidFill>
                <a:srgbClr val="345782"/>
              </a:solidFill>
              <a:ea typeface="Tahoma" pitchFamily="34" charset="0"/>
              <a:cs typeface="Tahoma" pitchFamily="34" charset="0"/>
            </a:endParaRPr>
          </a:p>
          <a:p>
            <a:r>
              <a:rPr lang="ru-RU" sz="24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Инструменты взаимодействия участников рынка интеллектуальной собственности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11560" y="3933056"/>
            <a:ext cx="4860032" cy="2231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345782"/>
                </a:solidFill>
              </a:rPr>
              <a:t>«Любые торжественно провозглашаемые декларации прав человека превращаются в свою противоположность, коль скоро общество, в котором им предстоит действовать, не располагает ни необходимыми для этого возможностями, ни достаточно развитыми структурами</a:t>
            </a:r>
            <a:r>
              <a:rPr lang="ru-RU" sz="1600" i="1" dirty="0" smtClean="0">
                <a:solidFill>
                  <a:srgbClr val="345782"/>
                </a:solidFill>
              </a:rPr>
              <a:t>.»*</a:t>
            </a:r>
            <a:endParaRPr lang="ru-RU" sz="1600" i="1" dirty="0">
              <a:solidFill>
                <a:srgbClr val="345782"/>
              </a:solidFill>
            </a:endParaRPr>
          </a:p>
          <a:p>
            <a:endParaRPr lang="en-US" sz="1100" i="1" dirty="0">
              <a:solidFill>
                <a:srgbClr val="345782"/>
              </a:solidFill>
            </a:endParaRPr>
          </a:p>
          <a:p>
            <a:r>
              <a:rPr lang="ru-RU" sz="1100" i="1" dirty="0">
                <a:solidFill>
                  <a:srgbClr val="345782"/>
                </a:solidFill>
              </a:rPr>
              <a:t>*</a:t>
            </a:r>
            <a:r>
              <a:rPr lang="en-US" sz="1100" i="1" dirty="0">
                <a:solidFill>
                  <a:srgbClr val="345782"/>
                </a:solidFill>
              </a:rPr>
              <a:t> </a:t>
            </a:r>
            <a:r>
              <a:rPr lang="ru-RU" sz="1100" i="1" dirty="0">
                <a:solidFill>
                  <a:srgbClr val="345782"/>
                </a:solidFill>
              </a:rPr>
              <a:t>Э. </a:t>
            </a:r>
            <a:r>
              <a:rPr lang="ru-RU" sz="1100" i="1" dirty="0" err="1" smtClean="0">
                <a:solidFill>
                  <a:srgbClr val="345782"/>
                </a:solidFill>
              </a:rPr>
              <a:t>Мунье</a:t>
            </a:r>
            <a:r>
              <a:rPr lang="ru-RU" sz="1100" i="1" dirty="0" smtClean="0">
                <a:solidFill>
                  <a:srgbClr val="345782"/>
                </a:solidFill>
              </a:rPr>
              <a:t> – французский </a:t>
            </a:r>
            <a:r>
              <a:rPr lang="ru-RU" sz="1100" i="1" dirty="0" err="1" smtClean="0">
                <a:solidFill>
                  <a:srgbClr val="345782"/>
                </a:solidFill>
              </a:rPr>
              <a:t>филосов</a:t>
            </a:r>
            <a:endParaRPr lang="ru-RU" sz="1100" i="1" dirty="0">
              <a:solidFill>
                <a:srgbClr val="3457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7048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теллектуальная собственность на объекты, вовлеченные в оборот</a:t>
            </a:r>
            <a:endParaRPr lang="ru-RU" dirty="0"/>
          </a:p>
        </p:txBody>
      </p:sp>
      <p:sp>
        <p:nvSpPr>
          <p:cNvPr id="50" name="TextBox 49"/>
          <p:cNvSpPr txBox="1"/>
          <p:nvPr/>
        </p:nvSpPr>
        <p:spPr>
          <a:xfrm>
            <a:off x="4932039" y="4725144"/>
            <a:ext cx="3998695" cy="654025"/>
          </a:xfrm>
          <a:prstGeom prst="rect">
            <a:avLst/>
          </a:prstGeom>
          <a:ln>
            <a:noFill/>
          </a:ln>
        </p:spPr>
        <p:txBody>
          <a:bodyPr wrap="square" lIns="90000" tIns="91440" rIns="90000" bIns="91440" rtlCol="0">
            <a:spAutoFit/>
          </a:bodyPr>
          <a:lstStyle/>
          <a:p>
            <a:pPr marL="171450" indent="-17145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endParaRPr lang="ru-RU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en-US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ru-RU" sz="1050" i="1" dirty="0">
              <a:solidFill>
                <a:srgbClr val="0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04791" y="1268760"/>
            <a:ext cx="8424936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Отсутствие границ между процессом разработки и процессом публикации: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все </a:t>
            </a:r>
            <a:r>
              <a:rPr lang="ru-RU" sz="1700" dirty="0">
                <a:solidFill>
                  <a:schemeClr val="tx2">
                    <a:lumMod val="75000"/>
                  </a:schemeClr>
                </a:solidFill>
              </a:rPr>
              <a:t>разработки выполняются путем использования компонентов, элементов и примитивов, доступных публично (через соответствующие инструменты программного обеспечения);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созданный </a:t>
            </a:r>
            <a:r>
              <a:rPr lang="ru-RU" sz="1700" dirty="0">
                <a:solidFill>
                  <a:schemeClr val="tx2">
                    <a:lumMod val="75000"/>
                  </a:schemeClr>
                </a:solidFill>
              </a:rPr>
              <a:t>объект промышленного либо развлекательного содержания публикуется автоматически, право на использование возникает у ограниченного либо неограниченного круга лиц в силу особенностей используемой разработчиком лицензии;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часть </a:t>
            </a:r>
            <a:r>
              <a:rPr lang="ru-RU" sz="1700" dirty="0">
                <a:solidFill>
                  <a:schemeClr val="tx2">
                    <a:lumMod val="75000"/>
                  </a:schemeClr>
                </a:solidFill>
              </a:rPr>
              <a:t>разработок защищены публичными лицензиями (дальнейшее развитие свободных лицензий </a:t>
            </a:r>
            <a:r>
              <a:rPr lang="en-US" sz="1700" dirty="0">
                <a:solidFill>
                  <a:schemeClr val="tx2">
                    <a:lumMod val="75000"/>
                  </a:schemeClr>
                </a:solidFill>
              </a:rPr>
              <a:t>Creative Commons</a:t>
            </a:r>
            <a:r>
              <a:rPr lang="ru-RU" sz="1700" dirty="0">
                <a:solidFill>
                  <a:schemeClr val="tx2">
                    <a:lumMod val="75000"/>
                  </a:schemeClr>
                </a:solidFill>
              </a:rPr>
              <a:t>), позволяющими их свободное использование при производстве любых объектов, перечень таких объектов постоянно пополняется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ru-RU" sz="1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9551" y="5530006"/>
            <a:ext cx="8290175" cy="923330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just"/>
            <a:r>
              <a:rPr lang="ru-RU" sz="1600" i="1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Поэтапный проигрыш компаний, осуществляющих создание объектов интеллектуальной собственности в закрытом режиме, неизбежен, при появлении мотивации у авторов разработок их выкладывать в публичный доступ.</a:t>
            </a:r>
            <a:endParaRPr lang="en-US" sz="1600" b="1" dirty="0" smtClean="0">
              <a:solidFill>
                <a:srgbClr val="FF9933"/>
              </a:solidFill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5705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теллектуальная собственность на объекты, вовлеченные в оборот</a:t>
            </a:r>
            <a:endParaRPr lang="ru-RU" dirty="0"/>
          </a:p>
        </p:txBody>
      </p:sp>
      <p:sp>
        <p:nvSpPr>
          <p:cNvPr id="50" name="TextBox 49"/>
          <p:cNvSpPr txBox="1"/>
          <p:nvPr/>
        </p:nvSpPr>
        <p:spPr>
          <a:xfrm>
            <a:off x="4932039" y="4725144"/>
            <a:ext cx="3998695" cy="654025"/>
          </a:xfrm>
          <a:prstGeom prst="rect">
            <a:avLst/>
          </a:prstGeom>
          <a:ln>
            <a:noFill/>
          </a:ln>
        </p:spPr>
        <p:txBody>
          <a:bodyPr wrap="square" lIns="90000" tIns="91440" rIns="90000" bIns="91440" rtlCol="0">
            <a:spAutoFit/>
          </a:bodyPr>
          <a:lstStyle/>
          <a:p>
            <a:pPr marL="171450" indent="-17145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endParaRPr lang="ru-RU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en-US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ru-RU" sz="1050" i="1" dirty="0">
              <a:solidFill>
                <a:srgbClr val="0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95536" y="1272817"/>
            <a:ext cx="8535198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</a:rPr>
              <a:t>Отсутствие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дополнительных транзакционных издержек на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</a:rPr>
              <a:t>взаиморасчеты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между правообладателями и пользователями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Автоматическая идентификация коммуникационной сетью использования чужого контента как в составе комплексного произведения, так и при прямом копировании, включая внесение незначительных модификаций – </a:t>
            </a:r>
            <a:r>
              <a:rPr lang="en-US" sz="1700" b="1" dirty="0" smtClean="0">
                <a:solidFill>
                  <a:schemeClr val="tx2">
                    <a:lumMod val="75000"/>
                  </a:schemeClr>
                </a:solidFill>
              </a:rPr>
              <a:t>Index C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, рассчитываемый алгоритмами искусственного интеллекта по публичным правилам оценки допустимого сходства.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Появление массового использования чужого контента для формирования своего комплексного объекта интеллектуальной собственности при сохранении всех прав правообладателей  компонентов.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Рынок мирового масштаба объектов интеллектуальной собственности, обеспечивающих схожий пользовательский функционал – изменение концепции поиска, продвижения и рекламы за счет </a:t>
            </a:r>
            <a:r>
              <a:rPr lang="en-US" sz="1700" b="1" dirty="0" smtClean="0">
                <a:solidFill>
                  <a:schemeClr val="tx2">
                    <a:lumMod val="75000"/>
                  </a:schemeClr>
                </a:solidFill>
              </a:rPr>
              <a:t>Index P</a:t>
            </a:r>
            <a:r>
              <a:rPr lang="en-US" sz="17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– функциональной близости объекта потребностям потребителя.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Автоматические взаиморасчеты по цепочкам правообладателей объектов, которые были использованы при разработке комплексного объекта, при коммерческом использовании такого объекта.</a:t>
            </a:r>
            <a:endParaRPr lang="ru-RU" sz="14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0143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жидаемые эффекты</a:t>
            </a:r>
            <a:endParaRPr lang="ru-RU" dirty="0"/>
          </a:p>
        </p:txBody>
      </p:sp>
      <p:sp>
        <p:nvSpPr>
          <p:cNvPr id="50" name="TextBox 49"/>
          <p:cNvSpPr txBox="1"/>
          <p:nvPr/>
        </p:nvSpPr>
        <p:spPr>
          <a:xfrm>
            <a:off x="4932039" y="4725144"/>
            <a:ext cx="3998695" cy="654025"/>
          </a:xfrm>
          <a:prstGeom prst="rect">
            <a:avLst/>
          </a:prstGeom>
          <a:ln>
            <a:noFill/>
          </a:ln>
        </p:spPr>
        <p:txBody>
          <a:bodyPr wrap="square" lIns="90000" tIns="91440" rIns="90000" bIns="91440" rtlCol="0">
            <a:spAutoFit/>
          </a:bodyPr>
          <a:lstStyle/>
          <a:p>
            <a:pPr marL="171450" indent="-17145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endParaRPr lang="ru-RU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en-US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ru-RU" sz="1050" i="1" dirty="0">
              <a:solidFill>
                <a:srgbClr val="0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95536" y="1268760"/>
            <a:ext cx="8535198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Повышение скорости вовлечения в оборот РИД в десятки раз за счет возможностей по параллельному проектированию сложных систем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Кратное увеличение возможностей национальной экономики по решению задач, требующих системной и технологической интеграции, включая создание импортозамещающих и </a:t>
            </a:r>
            <a:r>
              <a:rPr lang="ru-RU" sz="2000" dirty="0" err="1" smtClean="0">
                <a:solidFill>
                  <a:schemeClr val="tx2">
                    <a:lumMod val="75000"/>
                  </a:schemeClr>
                </a:solidFill>
              </a:rPr>
              <a:t>экспортноориентированных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 производств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Повышение эффективности разрабатываемых решений за счет возможностей по их оптимизации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Существенное изменение корпоративных и государственной модели управления исследованиями и разработками, многократное увеличение прозрачности и предсказуемости результатов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Сокращение рисков инновационных проектов, появление возможности для переключения России на инновационный сценарий развития. 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4705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корость переходных процессов</a:t>
            </a:r>
            <a:endParaRPr lang="ru-RU" dirty="0"/>
          </a:p>
        </p:txBody>
      </p:sp>
      <p:sp>
        <p:nvSpPr>
          <p:cNvPr id="50" name="TextBox 49"/>
          <p:cNvSpPr txBox="1"/>
          <p:nvPr/>
        </p:nvSpPr>
        <p:spPr>
          <a:xfrm>
            <a:off x="4932039" y="4725144"/>
            <a:ext cx="3998695" cy="654025"/>
          </a:xfrm>
          <a:prstGeom prst="rect">
            <a:avLst/>
          </a:prstGeom>
          <a:ln>
            <a:noFill/>
          </a:ln>
        </p:spPr>
        <p:txBody>
          <a:bodyPr wrap="square" lIns="90000" tIns="91440" rIns="90000" bIns="91440" rtlCol="0">
            <a:spAutoFit/>
          </a:bodyPr>
          <a:lstStyle/>
          <a:p>
            <a:pPr marL="171450" indent="-17145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endParaRPr lang="ru-RU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en-US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ru-RU" sz="1050" i="1" dirty="0">
              <a:solidFill>
                <a:srgbClr val="0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04791" y="1268760"/>
            <a:ext cx="8424936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Темпы перехода к открытому рынку объектов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</a:rPr>
              <a:t>ИС определяются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следующими факторами: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алгоритмизация расчета </a:t>
            </a:r>
            <a:r>
              <a:rPr lang="en-US" sz="1700" b="1" dirty="0" smtClean="0">
                <a:solidFill>
                  <a:schemeClr val="tx2">
                    <a:lumMod val="75000"/>
                  </a:schemeClr>
                </a:solidFill>
              </a:rPr>
              <a:t>Index C </a:t>
            </a: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и </a:t>
            </a:r>
            <a:r>
              <a:rPr lang="en-US" sz="1700" b="1" dirty="0" smtClean="0">
                <a:solidFill>
                  <a:schemeClr val="tx2">
                    <a:lumMod val="75000"/>
                  </a:schemeClr>
                </a:solidFill>
              </a:rPr>
              <a:t>Index P</a:t>
            </a: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в «творческих направлениях», поскольку именно их работа обеспечивает участнику такого рынка выигрыш при выборе оптимальных компонентов и идентификацию использования;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развитие </a:t>
            </a:r>
            <a:r>
              <a:rPr lang="en-US" sz="1700" b="1" dirty="0" smtClean="0">
                <a:solidFill>
                  <a:schemeClr val="tx2">
                    <a:lumMod val="75000"/>
                  </a:schemeClr>
                </a:solidFill>
              </a:rPr>
              <a:t>public domain 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– объема ИС, доступного для публичного использования и связывающих различные предметные области в целостную онтологию;</a:t>
            </a:r>
            <a:endParaRPr lang="ru-RU" sz="1700" dirty="0">
              <a:solidFill>
                <a:schemeClr val="tx2">
                  <a:lumMod val="75000"/>
                </a:schemeClr>
              </a:solidFill>
            </a:endParaRP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скорость вовлечения в оборот 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сетей, в которых производятся операции по оценке прав собственников, транзакционные издержки на извлечение из таких сетей публичной интеллектуальной собственности, и в последующем – организацию контрафактного производства;</a:t>
            </a:r>
            <a:endParaRPr lang="ru-RU" sz="1700" dirty="0">
              <a:solidFill>
                <a:schemeClr val="tx2">
                  <a:lumMod val="75000"/>
                </a:schemeClr>
              </a:solidFill>
            </a:endParaRP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скорость развития смежных трендов 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– цифровое и децентрализованное производство, </a:t>
            </a:r>
            <a:r>
              <a:rPr lang="ru-RU" sz="1700" dirty="0" err="1" smtClean="0">
                <a:solidFill>
                  <a:schemeClr val="tx2">
                    <a:lumMod val="75000"/>
                  </a:schemeClr>
                </a:solidFill>
              </a:rPr>
              <a:t>биокоммуникационные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 технологии и технологии виртуальной реальности, финансовая децентрализованная инфраструктура на основе </a:t>
            </a:r>
            <a:r>
              <a:rPr lang="en-US" sz="1700" dirty="0" err="1" smtClean="0">
                <a:solidFill>
                  <a:schemeClr val="tx2">
                    <a:lumMod val="75000"/>
                  </a:schemeClr>
                </a:solidFill>
              </a:rPr>
              <a:t>blockchain</a:t>
            </a:r>
            <a:r>
              <a:rPr lang="en-US" sz="1700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ru-RU" sz="17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223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кущий статус по наиболее критичным технологиям</a:t>
            </a:r>
            <a:endParaRPr lang="ru-RU" dirty="0"/>
          </a:p>
        </p:txBody>
      </p:sp>
      <p:sp>
        <p:nvSpPr>
          <p:cNvPr id="50" name="TextBox 49"/>
          <p:cNvSpPr txBox="1"/>
          <p:nvPr/>
        </p:nvSpPr>
        <p:spPr>
          <a:xfrm>
            <a:off x="4932039" y="4725144"/>
            <a:ext cx="3998695" cy="654025"/>
          </a:xfrm>
          <a:prstGeom prst="rect">
            <a:avLst/>
          </a:prstGeom>
          <a:ln>
            <a:noFill/>
          </a:ln>
        </p:spPr>
        <p:txBody>
          <a:bodyPr wrap="square" lIns="90000" tIns="91440" rIns="90000" bIns="91440" rtlCol="0">
            <a:spAutoFit/>
          </a:bodyPr>
          <a:lstStyle/>
          <a:p>
            <a:pPr marL="171450" indent="-17145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endParaRPr lang="ru-RU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en-US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ru-RU" sz="1050" i="1" dirty="0">
              <a:solidFill>
                <a:srgbClr val="0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04791" y="1268760"/>
            <a:ext cx="8424936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Алгоритмизация </a:t>
            </a:r>
            <a:r>
              <a:rPr lang="ru-RU" sz="1700" b="1" dirty="0">
                <a:solidFill>
                  <a:schemeClr val="tx2">
                    <a:lumMod val="75000"/>
                  </a:schemeClr>
                </a:solidFill>
              </a:rPr>
              <a:t>расчета </a:t>
            </a:r>
            <a:r>
              <a:rPr lang="en-US" sz="1700" b="1" dirty="0">
                <a:solidFill>
                  <a:schemeClr val="tx2">
                    <a:lumMod val="75000"/>
                  </a:schemeClr>
                </a:solidFill>
              </a:rPr>
              <a:t>Index C </a:t>
            </a:r>
            <a:r>
              <a:rPr lang="ru-RU" sz="1700" b="1" dirty="0">
                <a:solidFill>
                  <a:schemeClr val="tx2">
                    <a:lumMod val="75000"/>
                  </a:schemeClr>
                </a:solidFill>
              </a:rPr>
              <a:t>и </a:t>
            </a:r>
            <a:r>
              <a:rPr lang="en-US" sz="1700" b="1" dirty="0">
                <a:solidFill>
                  <a:schemeClr val="tx2">
                    <a:lumMod val="75000"/>
                  </a:schemeClr>
                </a:solidFill>
              </a:rPr>
              <a:t>Index P</a:t>
            </a:r>
            <a:r>
              <a:rPr lang="ru-RU" sz="17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endParaRPr lang="ru-RU" sz="17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Уже возможно для простейших случаев (текст – в </a:t>
            </a:r>
            <a:r>
              <a:rPr lang="ru-RU" sz="1700" dirty="0" err="1" smtClean="0">
                <a:solidFill>
                  <a:schemeClr val="tx2">
                    <a:lumMod val="75000"/>
                  </a:schemeClr>
                </a:solidFill>
              </a:rPr>
              <a:t>т.ч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. российские промышленные технологии, включая </a:t>
            </a:r>
            <a:r>
              <a:rPr lang="en-US" sz="1700" dirty="0" smtClean="0">
                <a:solidFill>
                  <a:schemeClr val="tx2">
                    <a:lumMod val="75000"/>
                  </a:schemeClr>
                </a:solidFill>
              </a:rPr>
              <a:t>Abbey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ru-RU" sz="1700" dirty="0" err="1" smtClean="0">
                <a:solidFill>
                  <a:schemeClr val="tx2">
                    <a:lumMod val="75000"/>
                  </a:schemeClr>
                </a:solidFill>
              </a:rPr>
              <a:t>антиплагиат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, картинки и фотографии, распознаваемые плоские схемы), применение зависит от возможности использования предиктивных технологий (имеются в распоряжении некоторых российских компаний, например - </a:t>
            </a:r>
            <a:r>
              <a:rPr lang="en-US" sz="1700" dirty="0" err="1" smtClean="0">
                <a:solidFill>
                  <a:schemeClr val="tx2">
                    <a:lumMod val="75000"/>
                  </a:schemeClr>
                </a:solidFill>
              </a:rPr>
              <a:t>Yandex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), а также онтологических возможностей </a:t>
            </a:r>
            <a:r>
              <a:rPr lang="en-US" sz="1700" dirty="0" smtClean="0">
                <a:solidFill>
                  <a:schemeClr val="tx2">
                    <a:lumMod val="75000"/>
                  </a:schemeClr>
                </a:solidFill>
              </a:rPr>
              <a:t>public domain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ru-RU" sz="1700" dirty="0">
              <a:solidFill>
                <a:schemeClr val="tx2">
                  <a:lumMod val="75000"/>
                </a:schemeClr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Развитие </a:t>
            </a:r>
            <a:r>
              <a:rPr lang="en-US" sz="1700" b="1" dirty="0">
                <a:solidFill>
                  <a:schemeClr val="tx2">
                    <a:lumMod val="75000"/>
                  </a:schemeClr>
                </a:solidFill>
              </a:rPr>
              <a:t>public domain </a:t>
            </a:r>
            <a:endParaRPr lang="ru-RU" sz="1700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Системы-прототипы широко распространены как в публичном, так и в корпоративном поле. </a:t>
            </a:r>
            <a:r>
              <a:rPr lang="en-US" sz="1700" dirty="0" smtClean="0">
                <a:solidFill>
                  <a:schemeClr val="tx2">
                    <a:lumMod val="75000"/>
                  </a:schemeClr>
                </a:solidFill>
              </a:rPr>
              <a:t>ISO 15 926 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(первые четыре публичных уровня) и технология фасадов на </a:t>
            </a:r>
            <a:r>
              <a:rPr lang="en-US" sz="1700" dirty="0" err="1" smtClean="0">
                <a:solidFill>
                  <a:schemeClr val="tx2">
                    <a:lumMod val="75000"/>
                  </a:schemeClr>
                </a:solidFill>
              </a:rPr>
              <a:t>iRing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, онтологии для выполнения интеллектуальных задач, наличие технической возможности автоматического формирования онтологий. </a:t>
            </a:r>
            <a:endParaRPr lang="ru-RU" sz="1700" dirty="0">
              <a:solidFill>
                <a:schemeClr val="tx2">
                  <a:lumMod val="75000"/>
                </a:schemeClr>
              </a:solidFill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Скорость </a:t>
            </a:r>
            <a:r>
              <a:rPr lang="ru-RU" sz="1700" b="1" dirty="0">
                <a:solidFill>
                  <a:schemeClr val="tx2">
                    <a:lumMod val="75000"/>
                  </a:schemeClr>
                </a:solidFill>
              </a:rPr>
              <a:t>вовлечения </a:t>
            </a: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сетей в </a:t>
            </a:r>
            <a:r>
              <a:rPr lang="ru-RU" sz="1700" b="1" dirty="0">
                <a:solidFill>
                  <a:schemeClr val="tx2">
                    <a:lumMod val="75000"/>
                  </a:schemeClr>
                </a:solidFill>
              </a:rPr>
              <a:t>оборот </a:t>
            </a:r>
            <a:endParaRPr lang="ru-RU" sz="17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Предмет переговоров с владельцами сетей, возможно существенное повышение их заинтересованности в случае участия в финансовом результате, который будет производиться участниками рынка.</a:t>
            </a:r>
            <a:endParaRPr lang="ru-RU" sz="17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650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кущий статус по наиболее критичным технологиям</a:t>
            </a:r>
            <a:endParaRPr lang="ru-RU" dirty="0"/>
          </a:p>
        </p:txBody>
      </p:sp>
      <p:sp>
        <p:nvSpPr>
          <p:cNvPr id="50" name="TextBox 49"/>
          <p:cNvSpPr txBox="1"/>
          <p:nvPr/>
        </p:nvSpPr>
        <p:spPr>
          <a:xfrm>
            <a:off x="4932039" y="4725144"/>
            <a:ext cx="3998695" cy="654025"/>
          </a:xfrm>
          <a:prstGeom prst="rect">
            <a:avLst/>
          </a:prstGeom>
          <a:ln>
            <a:noFill/>
          </a:ln>
        </p:spPr>
        <p:txBody>
          <a:bodyPr wrap="square" lIns="90000" tIns="91440" rIns="90000" bIns="91440" rtlCol="0">
            <a:spAutoFit/>
          </a:bodyPr>
          <a:lstStyle/>
          <a:p>
            <a:pPr marL="171450" indent="-17145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endParaRPr lang="ru-RU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en-US" sz="1000" i="1" dirty="0" smtClean="0">
              <a:solidFill>
                <a:srgbClr val="000000"/>
              </a:solidFill>
            </a:endParaRPr>
          </a:p>
          <a:p>
            <a:pPr>
              <a:buClr>
                <a:srgbClr val="345782"/>
              </a:buClr>
              <a:buSzPct val="100000"/>
            </a:pPr>
            <a:endParaRPr lang="ru-RU" sz="1050" i="1" dirty="0">
              <a:solidFill>
                <a:srgbClr val="0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04791" y="1268760"/>
            <a:ext cx="842493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Децентрализованная финансовая инфраструктура</a:t>
            </a:r>
          </a:p>
          <a:p>
            <a:pPr>
              <a:spcAft>
                <a:spcPts val="1200"/>
              </a:spcAft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Проект </a:t>
            </a:r>
            <a:r>
              <a:rPr lang="en-US" sz="1700" dirty="0" err="1" smtClean="0">
                <a:solidFill>
                  <a:schemeClr val="tx2">
                    <a:lumMod val="75000"/>
                  </a:schemeClr>
                </a:solidFill>
              </a:rPr>
              <a:t>Etherium</a:t>
            </a:r>
            <a:r>
              <a:rPr lang="en-US" sz="17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обеспечивает поддержку модели децентрализованных автоматически выполняемых алгоритмов, которые способны полностью обеспечить задачи по управлению реестром, поиском сходства и обеспечения необходимых транзакций между правообладателями в зависимости от событий в сети, которая является объектом мониторинга. </a:t>
            </a:r>
            <a:endParaRPr lang="ru-RU" sz="1700" dirty="0">
              <a:solidFill>
                <a:schemeClr val="tx2">
                  <a:lumMod val="75000"/>
                </a:schemeClr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</a:rPr>
              <a:t>Цифровое производство</a:t>
            </a:r>
            <a:endParaRPr lang="ru-RU" sz="1700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Бурное развитие </a:t>
            </a:r>
            <a:r>
              <a:rPr lang="en-US" sz="1700" dirty="0" smtClean="0">
                <a:solidFill>
                  <a:schemeClr val="tx2">
                    <a:lumMod val="75000"/>
                  </a:schemeClr>
                </a:solidFill>
              </a:rPr>
              <a:t>3D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-печати формирует запрос на опережающее развитие </a:t>
            </a:r>
            <a:r>
              <a:rPr lang="ru-RU" sz="1700" dirty="0" err="1" smtClean="0">
                <a:solidFill>
                  <a:schemeClr val="tx2">
                    <a:lumMod val="75000"/>
                  </a:schemeClr>
                </a:solidFill>
              </a:rPr>
              <a:t>соотвтствующей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 цифровой инфраструктуры </a:t>
            </a:r>
            <a:r>
              <a:rPr lang="en-US" sz="1700" dirty="0" err="1" smtClean="0">
                <a:solidFill>
                  <a:schemeClr val="tx2">
                    <a:lumMod val="75000"/>
                  </a:schemeClr>
                </a:solidFill>
              </a:rPr>
              <a:t>IP.Net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, аналогичная ситуация с виртуальными средами и развлечениями, создание вживляемых чипов прямо поставит вопрос об интерфейсах и </a:t>
            </a:r>
            <a:r>
              <a:rPr lang="ru-RU" sz="1700" dirty="0" err="1" smtClean="0">
                <a:solidFill>
                  <a:schemeClr val="tx2">
                    <a:lumMod val="75000"/>
                  </a:schemeClr>
                </a:solidFill>
              </a:rPr>
              <a:t>конгитивных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 технологиях, которые бы позволяли эффективно взаимодействовать с </a:t>
            </a:r>
            <a:r>
              <a:rPr lang="en-US" sz="1700" dirty="0" smtClean="0">
                <a:solidFill>
                  <a:schemeClr val="tx2">
                    <a:lumMod val="75000"/>
                  </a:schemeClr>
                </a:solidFill>
              </a:rPr>
              <a:t>public domain</a:t>
            </a:r>
            <a:r>
              <a:rPr lang="ru-RU" sz="1700" dirty="0" smtClean="0">
                <a:solidFill>
                  <a:schemeClr val="tx2">
                    <a:lumMod val="75000"/>
                  </a:schemeClr>
                </a:solidFill>
              </a:rPr>
              <a:t>. </a:t>
            </a:r>
            <a:endParaRPr lang="ru-RU" sz="17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9550" y="5379169"/>
            <a:ext cx="8290175" cy="43088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just"/>
            <a:r>
              <a:rPr lang="ru-RU" sz="1600" i="1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А мы действительно все еще обсуждаем 2035 год?</a:t>
            </a:r>
            <a:endParaRPr lang="en-US" sz="1600" b="1" dirty="0" smtClean="0">
              <a:solidFill>
                <a:srgbClr val="FF9933"/>
              </a:solidFill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42574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SI_new_format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</TotalTime>
  <Words>760</Words>
  <Application>Microsoft Macintosh PowerPoint</Application>
  <PresentationFormat>Экран (4:3)</PresentationFormat>
  <Paragraphs>55</Paragraphs>
  <Slides>7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0" baseType="lpstr">
      <vt:lpstr>Тема Office</vt:lpstr>
      <vt:lpstr>ASI_new_format</vt:lpstr>
      <vt:lpstr>think-cell Slide</vt:lpstr>
      <vt:lpstr>Презентация PowerPoint</vt:lpstr>
      <vt:lpstr>Интеллектуальная собственность на объекты, вовлеченные в оборот</vt:lpstr>
      <vt:lpstr>Интеллектуальная собственность на объекты, вовлеченные в оборот</vt:lpstr>
      <vt:lpstr>Ожидаемые эффекты</vt:lpstr>
      <vt:lpstr>Скорость переходных процессов</vt:lpstr>
      <vt:lpstr>Текущий статус по наиболее критичным технологиям</vt:lpstr>
      <vt:lpstr>Текущий статус по наиболее критичным технологиям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теллектуальная собственность – основа новой экономики</dc:title>
  <dc:creator>Svitlana Lebedenko</dc:creator>
  <cp:lastModifiedBy>Lyubov Korotetskaya</cp:lastModifiedBy>
  <cp:revision>43</cp:revision>
  <dcterms:created xsi:type="dcterms:W3CDTF">2016-01-26T08:09:54Z</dcterms:created>
  <dcterms:modified xsi:type="dcterms:W3CDTF">2016-02-17T07:51:19Z</dcterms:modified>
</cp:coreProperties>
</file>